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532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4660"/>
  </p:normalViewPr>
  <p:slideViewPr>
    <p:cSldViewPr snapToGrid="0">
      <p:cViewPr varScale="1">
        <p:scale>
          <a:sx n="79" d="100"/>
          <a:sy n="79" d="100"/>
        </p:scale>
        <p:origin x="7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2949C8-CAE8-4BA7-9587-FF97044A5783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9EF6DA-317C-415D-B399-29E7F655B7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120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C22DED-7D9C-6012-F18B-64B6B6DE7A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10993D-EA6D-0923-4E8E-8549F01D21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6BD2854-2A55-7723-544F-A39B69CC87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A0584-D513-E67C-80D6-8850170364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A0D1F-338E-554C-9FE8-32F4799B4DC0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2969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DAD1DC-5B39-23AA-823C-2575AE77A9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B11969-FA89-13A7-03FD-498498A97C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2BAF73-AEAC-DCED-9E8C-9A6BF9F71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1F6F0A-F76F-DA7C-FD36-2C62067BF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6C3C7A-4A74-5F69-6C4A-1027504BA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8665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C22CE4-3621-4AD4-A504-4A899924D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F9C99F-D8CB-C534-8929-5017353F47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76D303-2419-13ED-F5F6-BC82214A1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7C16C1-045D-7532-3163-E94FB8DF6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BD8004-18D2-881D-FC88-8E5FFA411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6847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4EA24C0-1935-4D25-40CB-AB05E5C365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117540-DE2D-A3E6-C899-CE9391915E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8E37F1-1556-A953-8452-6411DB9FE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729748-9AC1-DBB2-27C6-5005F488F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35F6F1-1182-6A83-6E32-E99A89577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486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CEFED81F-1D5B-9360-7B23-5D0BF1D3571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72376" y="1089026"/>
            <a:ext cx="3527425" cy="4680000"/>
          </a:xfrm>
          <a:solidFill>
            <a:schemeClr val="bg2">
              <a:lumMod val="95000"/>
            </a:schemeClr>
          </a:solidFill>
        </p:spPr>
        <p:txBody>
          <a:bodyPr lIns="792000" tIns="0" rIns="792000" bIns="0" anchor="ctr" anchorCtr="0"/>
          <a:lstStyle>
            <a:lvl1pPr algn="ctr">
              <a:defRPr sz="1000"/>
            </a:lvl1pPr>
          </a:lstStyle>
          <a:p>
            <a:r>
              <a:rPr lang="en-GB"/>
              <a:t>TO INSERT AN IMAGE: </a:t>
            </a:r>
            <a:br>
              <a:rPr lang="en-GB"/>
            </a:br>
            <a:r>
              <a:rPr lang="en-GB"/>
              <a:t>SELECT THIS GREY AREA </a:t>
            </a:r>
            <a:br>
              <a:rPr lang="en-GB"/>
            </a:br>
            <a:r>
              <a:rPr lang="en-GB"/>
              <a:t>CLICK IN THE RIBBON ON 'INSERT' - 'PICTURES’ </a:t>
            </a:r>
            <a:br>
              <a:rPr lang="en-GB"/>
            </a:br>
            <a:r>
              <a:rPr lang="en-GB"/>
              <a:t>SELECT A PHOTO OR IMAGE VIA THE EXPLORER AND CLICK ON 'INSERT'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7" y="1076994"/>
            <a:ext cx="5761037" cy="621965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9201" y="6623716"/>
            <a:ext cx="104195" cy="92333"/>
          </a:xfrm>
        </p:spPr>
        <p:txBody>
          <a:bodyPr/>
          <a:lstStyle/>
          <a:p>
            <a:fld id="{8008FCDA-A3A7-43F4-A886-F9C97086728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FB57FB-C900-00FA-75A2-FDBAEA5DA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636839"/>
            <a:ext cx="5761037" cy="3132137"/>
          </a:xfrm>
        </p:spPr>
        <p:txBody>
          <a:bodyPr numCol="1" spcCol="396000"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7" y="1686244"/>
            <a:ext cx="5761037" cy="731547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1E7F341-15C5-F6F6-BE71-D531B672115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860087" y="1371626"/>
            <a:ext cx="2952000" cy="41148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6891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995">
          <p15:clr>
            <a:srgbClr val="FBAE40"/>
          </p15:clr>
        </p15:guide>
        <p15:guide id="2" pos="9539">
          <p15:clr>
            <a:srgbClr val="FBAE40"/>
          </p15:clr>
        </p15:guide>
        <p15:guide id="3" pos="13983">
          <p15:clr>
            <a:srgbClr val="FBAE40"/>
          </p15:clr>
        </p15:guide>
        <p15:guide id="4" orient="horz" pos="3322">
          <p15:clr>
            <a:srgbClr val="FBAE40"/>
          </p15:clr>
        </p15:guide>
        <p15:guide id="5" pos="1738">
          <p15:clr>
            <a:srgbClr val="FBAE40"/>
          </p15:clr>
        </p15:guide>
        <p15:guide id="6" orient="horz" pos="72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ls |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164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A1ABE-8331-332D-737F-158FC34AD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4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5E8AC8-1383-4EE2-50C6-07DD0817A4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0EA41E-2120-DECA-D2C5-81844960C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9A4E4C-B353-4D8E-BE01-9559AB02D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301DC1-0D55-73E2-1272-87B500E4B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9990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D27F2-FB6C-69CD-89A8-BC0762CBA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CB8CD0-08AD-1BA8-124E-D77A305BE5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D3D914-9076-A525-ACBB-5EAE77841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9D4C5F-D175-E7FE-F208-7548ABECD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9AEDCC-7AF6-AA04-1DDA-BE59872EF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3859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8BB51-843B-407A-EE4A-8C4FF50A2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8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3164EC-9BBC-2491-7C6C-DB0BC84FFC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155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5772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3087A5-7E96-0770-BA97-06D886EAE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355176-EA78-294B-79C3-6A41B7D1D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533949-6DB9-3E42-F648-445C57591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865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09D24-0936-4C5F-D937-A913FA900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9DD463-8F1C-F90D-E1EC-2C40D29BA8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D1DD7F-4683-5929-B356-B3D9DE94D7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A653BE-3B44-0A82-98EF-CAADEED17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783BC1-F502-4A02-B0C6-057A4D447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CDC60D-048F-FBCC-9975-FB522BBAF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4518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BFF0CF-4BF6-FD06-DA14-C0DDB7FEF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7CE3-B19F-9345-650D-9134E82F89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704110-8553-AB41-F1E9-4D8AF3C6FD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6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2AC8DA-61CB-6261-43E8-419D33211E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251E4B-50C2-7A38-67F7-FDF33F8588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D0A9B7C-B344-2714-B1E9-B1AE55BCF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A15389A-8E28-F807-72C5-8628B20C9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15E047-001B-EEA0-85C1-4AA21312E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2956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E0ADC1-EFE2-ED1E-0459-B3566D65F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339B67-F998-603F-6A37-D0D115EFEB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3E9CE6-3F60-DB72-8CD5-0DCAD7099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8DFB97-105D-D73A-223D-57191CD4B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050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E1EE20-FAF6-8C5C-CC98-D8862676A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09690C-C4A1-944D-E736-5CBDEFF0F7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7A1911-DC5E-B010-AFE3-C5CCDE5D6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F1B6C5-1845-47A9-72B0-48DB28431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00AF14-AB13-30DF-B6A0-578F79810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133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544762-1CEC-CF2D-E6E7-935C967A3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77093E-2479-E199-5E89-69C4E15C9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3A9331-5DD5-54A5-88E5-A9BF58E0D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5262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6668FF-71FE-1A32-57D4-A6A2B3F3A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E06E13-15C1-B7A7-69D4-85335F520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7DBA34-4C55-63F3-7DA6-BBD997F04A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5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2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DB6606-C12B-16FA-6D46-8C68D75916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A3D68D-7D02-350F-7AFE-0B1C038F5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F52CFD-8AD1-7ED9-4C3F-8CB6E8405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857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524197-2B68-238B-8E2E-E31446D96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770800C-9350-510B-3665-2DB4EC628C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6"/>
          </a:xfrm>
        </p:spPr>
        <p:txBody>
          <a:bodyPr/>
          <a:lstStyle>
            <a:lvl1pPr marL="0" indent="0">
              <a:buNone/>
              <a:defRPr sz="3200"/>
            </a:lvl1pPr>
            <a:lvl2pPr marL="457155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2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65D76-04D9-44C2-B86C-7D91633D82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5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2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63C9DE-6568-5191-D9C8-05498B72B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5ED16E-FA65-A8F6-81CE-781B71679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7BBD14-0129-304B-13A7-46E224DE4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8779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2AFD3-873E-6D1D-A938-51441CD8F3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B97CF7-0625-79CF-EC2B-005217B169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55A52A-638E-4978-49F0-3D6DA68D8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FFEBCA-4C5D-23E0-A070-EEE4AE4E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3481F-A1FD-77F2-A7F7-44AD4FF5E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93978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0B896-564F-9C3C-C475-749B961286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033EB7-BE86-C2CD-2C91-97A434FF9A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35FCE1-CCB5-EFBB-E178-8BC7176FD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8D3D-1E4C-1A4B-BF98-F639B26EF5E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B57D6-CD94-E484-56A0-77FF97A9E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B79515-754B-7177-0A40-514A71B88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F3D4B-2AE7-A04C-8911-21820D371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9619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7026D-FB99-07A3-234C-3463D0A4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3BCD29-2CA1-FB31-404C-73E0D0F36C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3C368-180C-5F02-FDFD-C98B7EDB3B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6D7C3D-200F-4AD9-AAC4-6A2A11CBB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DDEAC0-EF4C-9C68-53F4-D0CC21995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2431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99329-39CA-E3FC-F202-4E2B343DE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65A4F-41DE-D12D-B304-75E3A7CE3D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257D0F-EDAE-F892-F330-3BFA9F316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096F4C-A7FC-223D-E281-ACD31F402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D93679-F511-7BA5-E2E0-7760723B0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7994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C2538-2509-FBFC-EAEE-B1A6C5ED3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82EC26-8B55-BEF1-3B0C-FBE7D97CD1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177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355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E49317-E98C-4FB2-DC38-94E25BFFD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0FABD-46D1-3A76-210B-3D8C46CDB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EE24FE-A711-4FB7-2AF9-3D907F2C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85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F39EB-7CCA-F49E-987A-231FEA56D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28FEB8-A351-2E1D-FC71-D74E7DF960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64AE6-C675-1BD4-71BC-8D7416D864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B32E99-8B5E-B7D5-7AA8-3FEDAC9F8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E3A680-BC6E-F288-7F05-507B72B37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17AB51-0396-76BD-D105-D812397DC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154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22F30D-7C3D-6D6B-5DC6-EC1B72C42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B51196-0740-6AF3-952D-A0232DCBB9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5EA837-1C95-8BDF-4AEB-9353DC88A6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4BB340-828A-4FA5-3CD9-94E370F44E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FDF298-73C7-2DEB-60AB-39F68CE685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5317B8-AF23-B04F-0C50-B2610C2AD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E4EA74-8B71-EE97-DEC2-EEC67E19C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013036-32D5-5928-D301-19FA9B1FC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300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3E8C2-B497-7837-F64E-36898E62D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B9B21B-7969-87C8-07BF-55D82827C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177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355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4EEAA5-14C0-D14D-D852-8D0C261507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445F1-4D46-4EFF-6B69-5AB585A69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3D6860-A444-A657-E62C-148FFCDDE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8083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6E174-8B07-62D7-C9CF-BC3EC56D8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62075C-EEB3-C544-9B69-C0EC94408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73EA33-9E74-0413-5FAA-673801F2F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ED387C-867E-DF02-743B-9D76E4A02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4133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C33BD2-0969-B3C8-69C5-5C53FDBCE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7CB9EB-D795-7588-9A24-D4213BBFD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E9CBC-693F-F338-96FF-73E50B239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4246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E1AD5-E34C-6933-9EBB-536933FEC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EDF983-9583-0BAC-ACDA-712B29FB50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9B9645-F838-715D-9A25-2B42F9F5D2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6A5793-4414-D43F-2F86-7B7CC21CC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EA27B8-F09E-9FB4-D61D-028DEDA7A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5AC3BC-2F99-AAEE-3F96-E12ADBACA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4678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A904D-8CAC-C083-6B55-98C1ABB40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CE1CC8-D1C7-236A-6D90-0F6D87F6A3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3" indent="0">
              <a:buNone/>
              <a:defRPr sz="2000"/>
            </a:lvl7pPr>
            <a:lvl8pPr marL="3200240" indent="0">
              <a:buNone/>
              <a:defRPr sz="2000"/>
            </a:lvl8pPr>
            <a:lvl9pPr marL="3657417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C0436E-7A32-AFE1-1FDE-7FF94A3F2D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60864E-23E1-E213-4011-25E6169BDD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562FB0-F359-02C0-6631-B531251BA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A3843-8ABB-AB98-8077-81953A47F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9876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3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25CA8-E7E8-DB0E-81D0-EA1817E70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35E698-C6E1-AE93-F5A7-D9CEC237CF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7227E-A23B-BD3D-47AB-8C626ED57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9109CE-2BE0-E3AA-E2BC-589C3BE15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74503A-39CE-F093-5302-5BB5716433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8394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DC13C26-9A17-5906-91B4-FAA5D7C8C5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C025EC-594B-ACC5-8B76-6EF27BF363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2EFE88-00EB-9270-678D-EA8465738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8EECE-4908-4F6A-8EF1-B5F626ED3F7E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AABBCE-AE7D-BB92-F798-BEB0C2E4C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87D278-A7DC-7CC1-C9FD-1D9C696F9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74D8-9C2F-45C0-A346-2313165438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4627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wo Content copy 1" userDrawn="1">
  <p:cSld name="Two Content copy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FF87B699-9253-D4E3-0E29-15F536C7EE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49897"/>
            <a:ext cx="12192196" cy="158973"/>
          </a:xfrm>
          <a:prstGeom prst="rect">
            <a:avLst/>
          </a:prstGeom>
        </p:spPr>
      </p:pic>
      <p:pic>
        <p:nvPicPr>
          <p:cNvPr id="6" name="Immagine 5" descr="Immagine che contiene clipart, cartone animato, illustrazione&#10;&#10;Descrizione generata automaticamente">
            <a:extLst>
              <a:ext uri="{FF2B5EF4-FFF2-40B4-BE49-F238E27FC236}">
                <a16:creationId xmlns:a16="http://schemas.microsoft.com/office/drawing/2014/main" id="{C2BF7DAD-C6E6-706B-CF86-8DE47C9642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711" y="6265495"/>
            <a:ext cx="527775" cy="52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012830"/>
      </p:ext>
    </p:extLst>
  </p:cSld>
  <p:clrMapOvr>
    <a:masterClrMapping/>
  </p:clrMapOvr>
  <p:transition>
    <p:fade thruBlk="1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600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375" y="344102"/>
            <a:ext cx="9719680" cy="435376"/>
          </a:xfrm>
        </p:spPr>
        <p:txBody>
          <a:bodyPr vert="horz"/>
          <a:lstStyle>
            <a:lvl1pPr>
              <a:spcBef>
                <a:spcPts val="0"/>
              </a:spcBef>
              <a:defRPr sz="3500"/>
            </a:lvl1pPr>
          </a:lstStyle>
          <a:p>
            <a:r>
              <a:rPr lang="en-GB"/>
              <a:t>Title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55"/>
            <a:endParaRPr lang="en-GB">
              <a:solidFill>
                <a:srgbClr val="001739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0375" y="766763"/>
            <a:ext cx="9719680" cy="539828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" b="0">
                <a:solidFill>
                  <a:schemeClr val="accent2"/>
                </a:solidFill>
                <a:latin typeface="+mj-lt"/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8C87BE-8B44-27D8-C030-7209A0F927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914355"/>
            <a:fld id="{8008FCDA-A3A7-43F4-A886-F9C970867285}" type="slidenum">
              <a:rPr lang="nl-NL" smtClean="0">
                <a:solidFill>
                  <a:srgbClr val="001739"/>
                </a:solidFill>
              </a:rPr>
              <a:pPr defTabSz="914355"/>
              <a:t>‹#›</a:t>
            </a:fld>
            <a:endParaRPr lang="nl-NL">
              <a:solidFill>
                <a:srgbClr val="0017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160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7061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90">
          <p15:clr>
            <a:srgbClr val="FBAE40"/>
          </p15:clr>
        </p15:guide>
        <p15:guide id="6" pos="869">
          <p15:clr>
            <a:srgbClr val="FBAE40"/>
          </p15:clr>
        </p15:guide>
        <p15:guide id="7" orient="horz" pos="36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4"/>
            <a:ext cx="9678030" cy="3718269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E73C49F4-150C-4502-812F-4AD3DE70B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37131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32D21-7260-8759-65C9-2B2E0A420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E0F23-8145-5298-7248-7F26F4E6D3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D39C82-4C86-24F2-784F-354F00E8EA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E134C5-0D1C-1AB4-8D64-9A43F57A11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E13D8F-FC7C-BF78-131F-EC709888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B24269-85EE-FAFB-8FC0-5CE13CDE77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8E69D3-73ED-8C62-B776-CB9AFD0B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1C8718-A72F-2B83-526F-A53BF32EB8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CFF08B-F504-A9E3-CB51-99B318D6BF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945C6F-CD00-068A-5EA6-D216C23662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BFA99D-39E6-C842-0E97-B59915A008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8DBBE6B-4954-3BE5-37D7-D86F6A456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FF4865-3AC3-C730-28DA-F832E3F7E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75822C-4388-DBB0-290C-9704FD3C3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8300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3383F-E316-0526-5D59-D004A2281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5DBD7E-014F-FDD5-0BE1-357B2FD40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5C8952-46E2-A7C9-8BA3-6A11828AC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2043F9-E031-C648-15C1-5D0B45CE0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382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17200F-30E9-D09D-E03B-DC9431716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49D573-4CA7-C5CB-9EA0-CDBD3C9AE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92ABE8-34D7-72DB-A169-0C980A17D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3399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80907-E99D-B08F-5A7A-92777C1241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EAF004-0697-1F99-05DB-FD991844F8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AEB1E9-6043-BE50-48B8-4EE2B97FDB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522C7F-5957-A0C9-280B-4AA1F56989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13A185-B503-AF39-4EA2-6F3B5D25D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B34731-2AF7-4DAB-74CC-786AC48C7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366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5E1172-D48A-3441-2EA4-F8E1C0CD8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066A466-CAEA-4AEA-E2F5-DE40D2626E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3" indent="0">
              <a:buNone/>
              <a:defRPr sz="2000"/>
            </a:lvl7pPr>
            <a:lvl8pPr marL="3200240" indent="0">
              <a:buNone/>
              <a:defRPr sz="2000"/>
            </a:lvl8pPr>
            <a:lvl9pPr marL="3657417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2F2AF9-B781-15EC-18DF-DE1588C7AD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4766E9-984D-6E12-80B4-08E84CC8B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3328E5-F03B-8CBE-5B38-B3E7EF4C65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0D4527-4590-9AC3-13AF-C432BF5EB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6499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210371-27E9-FC1F-9DA1-1121B62D1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31DB2E-E0BB-29DE-AF58-4A0CCBFAB3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FE29E6-A196-B997-8232-22DD8E91FF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02C86A-E2AD-088C-0EB5-C92DA9010F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13F4CA-603C-DBF1-29BC-EC7DBF910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827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7E788C-9EE7-542C-88AB-1462E8D5FA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rrow: Chevron 1">
            <a:extLst>
              <a:ext uri="{FF2B5EF4-FFF2-40B4-BE49-F238E27FC236}">
                <a16:creationId xmlns:a16="http://schemas.microsoft.com/office/drawing/2014/main" id="{D817F735-9BD8-18E6-47EB-B5370754B6F8}"/>
              </a:ext>
            </a:extLst>
          </p:cNvPr>
          <p:cNvSpPr/>
          <p:nvPr/>
        </p:nvSpPr>
        <p:spPr>
          <a:xfrm>
            <a:off x="400376" y="253585"/>
            <a:ext cx="3207400" cy="910379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25BE10-0D57-3D1A-8168-CAEB52FA9D6A}"/>
              </a:ext>
            </a:extLst>
          </p:cNvPr>
          <p:cNvSpPr txBox="1"/>
          <p:nvPr/>
        </p:nvSpPr>
        <p:spPr>
          <a:xfrm>
            <a:off x="631902" y="266496"/>
            <a:ext cx="2783140" cy="1708160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0032"/>
                </a:solidFill>
                <a:effectLst/>
                <a:uLnTx/>
                <a:uFillTx/>
                <a:latin typeface="Aptos"/>
                <a:ea typeface="Calibri"/>
                <a:cs typeface="Calibri"/>
              </a:rPr>
              <a:t>TRIAL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32"/>
              </a:solidFill>
              <a:effectLst/>
              <a:uLnTx/>
              <a:uFillTx/>
              <a:latin typeface="Aptos"/>
              <a:ea typeface="Calibri"/>
              <a:cs typeface="Calibri"/>
            </a:endParaRPr>
          </a:p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32"/>
                </a:solidFill>
                <a:effectLst/>
                <a:uLnTx/>
                <a:uFillTx/>
                <a:latin typeface="Aptos"/>
                <a:ea typeface="Calibri"/>
                <a:cs typeface="Calibri"/>
              </a:rPr>
              <a:t>ON PREMISE</a:t>
            </a:r>
          </a:p>
          <a:p>
            <a:pPr marL="285750" marR="0" lvl="0" indent="-28575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85750" marR="0" lvl="0" indent="-28575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D932E20-67C0-5B15-901B-E9C3DCBA37B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692" t="11881" r="7906" b="16196"/>
          <a:stretch/>
        </p:blipFill>
        <p:spPr>
          <a:xfrm>
            <a:off x="11228682" y="240431"/>
            <a:ext cx="640846" cy="5526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45ECA24-34CB-A77F-95AC-115BFF9CDCF2}"/>
              </a:ext>
            </a:extLst>
          </p:cNvPr>
          <p:cNvSpPr txBox="1"/>
          <p:nvPr/>
        </p:nvSpPr>
        <p:spPr>
          <a:xfrm>
            <a:off x="1031508" y="1301376"/>
            <a:ext cx="60977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E9321A-8837-1A3D-4E0D-84CB4325D18A}"/>
              </a:ext>
            </a:extLst>
          </p:cNvPr>
          <p:cNvSpPr txBox="1"/>
          <p:nvPr/>
        </p:nvSpPr>
        <p:spPr>
          <a:xfrm>
            <a:off x="1603215" y="4093093"/>
            <a:ext cx="43412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runch Spots</a:t>
            </a:r>
          </a:p>
        </p:txBody>
      </p:sp>
      <p:pic>
        <p:nvPicPr>
          <p:cNvPr id="13" name="Picture 8" descr="The Best 20 Places for Brunch in Los Angeles">
            <a:extLst>
              <a:ext uri="{FF2B5EF4-FFF2-40B4-BE49-F238E27FC236}">
                <a16:creationId xmlns:a16="http://schemas.microsoft.com/office/drawing/2014/main" id="{A387B19C-154D-E503-4C9D-7E057A7E4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75"/>
          <a:stretch/>
        </p:blipFill>
        <p:spPr bwMode="auto">
          <a:xfrm>
            <a:off x="1624393" y="4485275"/>
            <a:ext cx="4326751" cy="2088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75A6732-99C9-D899-0D03-B83D86512BC6}"/>
              </a:ext>
            </a:extLst>
          </p:cNvPr>
          <p:cNvSpPr txBox="1"/>
          <p:nvPr/>
        </p:nvSpPr>
        <p:spPr>
          <a:xfrm>
            <a:off x="1603215" y="1321016"/>
            <a:ext cx="43412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aft Cocktail Ba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D45693-9530-B754-50C7-E65666DE784E}"/>
              </a:ext>
            </a:extLst>
          </p:cNvPr>
          <p:cNvSpPr txBox="1"/>
          <p:nvPr/>
        </p:nvSpPr>
        <p:spPr>
          <a:xfrm>
            <a:off x="6115715" y="1356571"/>
            <a:ext cx="48630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tin &amp; Mexican Restaurants</a:t>
            </a:r>
          </a:p>
        </p:txBody>
      </p:sp>
      <p:pic>
        <p:nvPicPr>
          <p:cNvPr id="19" name="Picture 2" descr="Britain’s best Latin-American restaurants | Latin american restaurant ...">
            <a:extLst>
              <a:ext uri="{FF2B5EF4-FFF2-40B4-BE49-F238E27FC236}">
                <a16:creationId xmlns:a16="http://schemas.microsoft.com/office/drawing/2014/main" id="{61C4F15B-6B6B-0F97-2A4E-C6B97F717A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156" y="1748766"/>
            <a:ext cx="4326468" cy="2132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9BD35F8-3C51-33BE-B9A2-D04F17549683}"/>
              </a:ext>
            </a:extLst>
          </p:cNvPr>
          <p:cNvSpPr txBox="1"/>
          <p:nvPr/>
        </p:nvSpPr>
        <p:spPr>
          <a:xfrm>
            <a:off x="6376752" y="4043652"/>
            <a:ext cx="43409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ach &amp; Poolside Bars</a:t>
            </a:r>
          </a:p>
        </p:txBody>
      </p:sp>
      <p:pic>
        <p:nvPicPr>
          <p:cNvPr id="21" name="Picture 6" descr="Swizzle Shtick: Indy's Tiki Bars - Indianapolis Monthly">
            <a:extLst>
              <a:ext uri="{FF2B5EF4-FFF2-40B4-BE49-F238E27FC236}">
                <a16:creationId xmlns:a16="http://schemas.microsoft.com/office/drawing/2014/main" id="{7334E5E1-7960-DCE0-A5FF-BF27E9A56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156" y="4514211"/>
            <a:ext cx="4340939" cy="2050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BDFE802-FB82-EDC2-3693-E4D94D379676}"/>
              </a:ext>
            </a:extLst>
          </p:cNvPr>
          <p:cNvSpPr txBox="1"/>
          <p:nvPr/>
        </p:nvSpPr>
        <p:spPr>
          <a:xfrm>
            <a:off x="160428" y="1818236"/>
            <a:ext cx="1314450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tida Margari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tida Old Fashioned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BAC41A9-96A2-574F-248F-F49417C25118}"/>
              </a:ext>
            </a:extLst>
          </p:cNvPr>
          <p:cNvSpPr txBox="1"/>
          <p:nvPr/>
        </p:nvSpPr>
        <p:spPr>
          <a:xfrm>
            <a:off x="10817102" y="1896938"/>
            <a:ext cx="121447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tida Palom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icy Partida Margarita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888428F-A828-C521-0E6A-ADD467A2FD4E}"/>
              </a:ext>
            </a:extLst>
          </p:cNvPr>
          <p:cNvSpPr txBox="1"/>
          <p:nvPr/>
        </p:nvSpPr>
        <p:spPr>
          <a:xfrm>
            <a:off x="245470" y="4683328"/>
            <a:ext cx="1190917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artida Mimos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tida Bloody Mary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CC6434-A4FA-C7E0-D163-939AAC3312AC}"/>
              </a:ext>
            </a:extLst>
          </p:cNvPr>
          <p:cNvSpPr txBox="1"/>
          <p:nvPr/>
        </p:nvSpPr>
        <p:spPr>
          <a:xfrm>
            <a:off x="10717691" y="4554758"/>
            <a:ext cx="1474309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zen Partida Daiquir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tida Tropical Punch</a:t>
            </a:r>
          </a:p>
        </p:txBody>
      </p:sp>
      <p:sp>
        <p:nvSpPr>
          <p:cNvPr id="26" name="Google Shape;242;p16">
            <a:extLst>
              <a:ext uri="{FF2B5EF4-FFF2-40B4-BE49-F238E27FC236}">
                <a16:creationId xmlns:a16="http://schemas.microsoft.com/office/drawing/2014/main" id="{AF4C41BB-5824-22D8-0970-C7CBDF3857CC}"/>
              </a:ext>
            </a:extLst>
          </p:cNvPr>
          <p:cNvSpPr txBox="1">
            <a:spLocks/>
          </p:cNvSpPr>
          <p:nvPr/>
        </p:nvSpPr>
        <p:spPr>
          <a:xfrm>
            <a:off x="4553715" y="134430"/>
            <a:ext cx="6425015" cy="2007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2" tIns="121892" rIns="121892" bIns="121892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ts val="990"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/>
                <a:ea typeface="Raleway"/>
                <a:cs typeface="Raleway"/>
                <a:sym typeface="Raleway"/>
              </a:rPr>
              <a:t>TARGET ACCOUNTS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3933296-23CC-87BB-C340-872C2DBEF19C}"/>
              </a:ext>
            </a:extLst>
          </p:cNvPr>
          <p:cNvSpPr txBox="1"/>
          <p:nvPr/>
        </p:nvSpPr>
        <p:spPr>
          <a:xfrm>
            <a:off x="4163770" y="718910"/>
            <a:ext cx="60944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D SUGGESTED COCKTAIL VARIATIONS</a:t>
            </a:r>
          </a:p>
        </p:txBody>
      </p:sp>
      <p:pic>
        <p:nvPicPr>
          <p:cNvPr id="2" name="Picture 1" descr="A person pouring a drink into a row of glasses&#10;&#10;AI-generated content may be incorrect.">
            <a:extLst>
              <a:ext uri="{FF2B5EF4-FFF2-40B4-BE49-F238E27FC236}">
                <a16:creationId xmlns:a16="http://schemas.microsoft.com/office/drawing/2014/main" id="{363C1F41-24E4-E3EF-8F45-CCF76BCE65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3215" y="1763041"/>
            <a:ext cx="4341221" cy="2117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0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</Words>
  <Application>Microsoft Office PowerPoint</Application>
  <PresentationFormat>Widescreen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dobe Caslon Pro Bold</vt:lpstr>
      <vt:lpstr>Aptos</vt:lpstr>
      <vt:lpstr>Aptos Display</vt:lpstr>
      <vt:lpstr>Arial</vt:lpstr>
      <vt:lpstr>Calibri</vt:lpstr>
      <vt:lpstr>HelveticaNeueLT Pro 63 MdEx</vt:lpstr>
      <vt:lpstr>Raleway</vt:lpstr>
      <vt:lpstr>1_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gnacio Llaneza</dc:creator>
  <cp:lastModifiedBy>Ignacio Llaneza</cp:lastModifiedBy>
  <cp:revision>1</cp:revision>
  <dcterms:created xsi:type="dcterms:W3CDTF">2025-08-27T17:33:06Z</dcterms:created>
  <dcterms:modified xsi:type="dcterms:W3CDTF">2025-08-27T17:33:23Z</dcterms:modified>
</cp:coreProperties>
</file>